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custDataLst>
    <p:tags r:id="rId4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144" y="-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8D519-65F8-4F43-9BC9-25A15BF5E736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EEDA5C-F455-4C0D-886A-B5EC79D7CA3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5172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EEDA5C-F455-4C0D-886A-B5EC79D7CA39}" type="slidenum">
              <a:rPr lang="tr-TR" smtClean="0"/>
              <a:t>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5033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49976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512176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23285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68413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42891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37894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3566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954837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0305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86576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79725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90730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Nesne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91773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048179-8267-4801-A17B-C38B850E092F}" type="datetimeFigureOut">
              <a:rPr lang="tr-TR" smtClean="0"/>
              <a:t>21.08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80041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notesSlide" Target="../notesSlides/notesSlide1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image" Target="../media/image2.emf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tags" Target="../tags/tag43.xml"/><Relationship Id="rId54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oleObject" Target="../embeddings/oleObject4.bin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image" Target="../media/image1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oleObject" Target="../embeddings/oleObject3.bin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Nesne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35302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think-cell Slide" r:id="rId56" imgW="416" imgH="416" progId="TCLayout.ActiveDocument.1">
                  <p:embed/>
                </p:oleObj>
              </mc:Choice>
              <mc:Fallback>
                <p:oleObj name="think-cell Slide" r:id="rId5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2" name="Nesne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51262922"/>
              </p:ext>
            </p:extLst>
          </p:nvPr>
        </p:nvGraphicFramePr>
        <p:xfrm>
          <a:off x="101600" y="1511301"/>
          <a:ext cx="9353719" cy="30669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Çizelge" r:id="rId58" imgW="9353719" imgH="3066981" progId="MSGraph.Chart.8">
                  <p:embed followColorScheme="full"/>
                </p:oleObj>
              </mc:Choice>
              <mc:Fallback>
                <p:oleObj name="Çizelge" r:id="rId58" imgW="9353719" imgH="306698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01600" y="1511301"/>
                        <a:ext cx="9353719" cy="30669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2" name="Düz Bağlayıcı 211"/>
          <p:cNvCxnSpPr/>
          <p:nvPr>
            <p:custDataLst>
              <p:tags r:id="rId5"/>
            </p:custDataLst>
          </p:nvPr>
        </p:nvCxnSpPr>
        <p:spPr bwMode="auto">
          <a:xfrm>
            <a:off x="225425" y="4037013"/>
            <a:ext cx="95250" cy="26193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Düz Bağlayıcı 212"/>
          <p:cNvCxnSpPr/>
          <p:nvPr>
            <p:custDataLst>
              <p:tags r:id="rId6"/>
            </p:custDataLst>
          </p:nvPr>
        </p:nvCxnSpPr>
        <p:spPr bwMode="auto">
          <a:xfrm>
            <a:off x="225425" y="4300538"/>
            <a:ext cx="95250" cy="1444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Metin Yer Tutucusu 11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-704850" y="2373313"/>
            <a:ext cx="904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5C9BDE-8F47-4FFC-B945-7EB2289B0725}" type="datetime'A''''''''''''B''D'''''' ''''''''''''D''''''''o''''l''ar''ı'''">
              <a:rPr lang="en-US" sz="14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BD Doları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9" name="Metin Yer Tutucusu 4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2475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1A93B5-8E12-4DBB-9666-2EDA574C3CC8}" type="datetime'''''''''''''''''''2''''''''''0''''''''''''''''''''''1''''''6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2016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6" name="Metin Yer Tutucusu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48347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7307BA-B71E-4FB2-A9B1-012AC0A156D9}" type="datetime'''''''''''''10''''0'''''''''''',''''''0''''''''''''''''''''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7" name="Metin Yer Tutucusu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572375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6D12C-436E-4B32-91C6-74BA2D1F8D8A}" type="datetime'''''''''''''''''''''''''''2'',''''7'''''''''''''''''''''">
              <a:rPr lang="tr-TR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1" name="Metin Yer Tutucusu 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8738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E747A9-E94F-48A6-A23A-1B4DB255DD7A}" type="datetime'''''''''2''''''''''''''''''''''''''0''1''''''5''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5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2" name="Metin Yer Tutucusu 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8326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B8024A-9B02-4AB8-8595-D83459621EB4}" type="datetime'10''''''''''''''0'''''''''''''''''''''''',''''''''0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Metin Yer Tutucusu 6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921500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53F5A7-90C4-44E2-9937-3712D5AAA7CD}" type="datetime'''''''''''''''''''''''''''''2'''''''''''''''''',''''''7''''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8" name="Metin Yer Tutucusu 157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616575" y="434181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5F832D-BDBF-4CC3-9794-628BE89E863A}" type="datetime'2'''''''''''',''''''''''''''''''5''''''''''''''''''''''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5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9" name="Metin Yer Tutucusu 128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18172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C28E2-8E43-4D1F-A162-E75575211FDF}" type="datetime'''''1''''''0''''''''''''''''0'''''''''''''',''''''0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2" name="Metin Yer Tutucusu 161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270625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02A227-E42E-479A-8CBA-09E0350F454E}" type="datetime'''''''''''''''''''2'''',''7''''''''''''''''''''''''''''''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" name="Metin Yer Tutucusu 19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2300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6780E2-B8E9-45E5-8992-A52E90F4AFC0}" type="datetime'''''''''''''''''''''''''''''''20''''''1''''''''4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4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" name="Metin Yer Tutucusu 18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56895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0291C1-F791-453B-AD81-51D6F2CF9B78}" type="datetime'''''''''''''''''''''''2''''''''''''''0''''''''13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3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8" name="Metin Yer Tutucusu 127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52767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8AE33C-2CC2-47B4-BBA4-FE9E769C954E}" type="datetime'1''''''''''''''''''''''''''''''''''''''''''0''''0,0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" name="Metin Yer Tutucusu 1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91490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B42E6A-32CF-41C7-A2B1-308065A2BCEF}" type="datetime'''2''''''''''0''''''''''''''1''''''2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2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" name="Metin Yer Tutucusu 1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60680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42304C-6350-4C5F-87D0-7BB6131D456E}" type="datetime'''''''''''''2''''''''''''''0''1''''''''''''''''0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5" name="Metin Yer Tutucusu 124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56552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0D4C80-1A20-4704-A2A3-ADD22BA7A054}" type="datetime'1''0''0'''''''''''''''''''''''''''''''''''''''',''''''''0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4" name="Metin Yer Tutucusu 12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91147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6859B5-C0AA-4CF8-9B76-0DF9956A56F6}" type="datetime'1''0''''''''''''0'''''''''''',''0''''''''''''''''''''''''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7" name="Metin Yer Tutucusu 126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87362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5C73DF-DFA1-4DC3-8A5C-C7AE56FB3E85}" type="datetime'''''''''''''''''''''''1''''''''''''0''0,0''''''''''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6" name="Metin Yer Tutucusu 125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21957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A8A819-0025-4879-8FCC-1D3D083C440E}" type="datetime'''''''''''''''''''''''''''''''''''1''''0''''''''''''0,''''0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" name="Metin Yer Tutucusu 1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265613" y="46672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B71D1C-4ABA-4552-8C1C-5458E7BDCB9D}" type="datetime'''2''''''0''''''''''''''1''''''''''''''''''''''''1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1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4" name="Metin Yer Tutucusu 153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962525" y="434181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3E759E-8FD5-40C1-8DDD-84427F308ECA}" type="datetime'''2,''''''''''4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4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6" name="Metin Yer Tutucusu 14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654425" y="43513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E6B4DD-B579-4DFA-BFFD-60815779AF15}" type="datetime'''''''''''''''''''''''''''1'''''''''''''''''''',9''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1,9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Metin Yer Tutucusu 14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95275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2BFE76-DEFC-466C-BE04-C60BDA8CE0F7}" type="datetime'2''''''''''''''''''''''''''''''''''''''0''''''''''0''9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9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2" name="Metin Yer Tutucusu 141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000375" y="434816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3D8637-7072-48CD-91DA-6C029251140D}" type="datetime'''''''2'''''',0''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0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0" name="Metin Yer Tutucusu 149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308475" y="43513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75840A-17CE-42EF-B2CD-C9E45B5CF609}" type="datetime'''''''1'',''''''''''''''''''''''''''''''''''''''''''''8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1,8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" name="Metin Yer Tutucusu 5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9695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411AB-8ECA-42A4-81C6-2B46EDA58A71}" type="datetime'''''''''''''''''2''''''0''''''06''''''''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6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" name="Metin Yer Tutucusu 4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4290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016CAC-F8E6-4EFA-81EA-9E4E26E14202}" type="datetime'''''''''''''''''2''''''''''''0''0''5''''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5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4" name="Metin Yer Tutucusu 165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98450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9D8EC1-FC77-4E0A-94AF-E245E79610B4}" type="datetime'''''''2,''''''''''''''''''''''''''7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7" name="Metin Yer Tutucusu 168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482600" y="4192588"/>
            <a:ext cx="273050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D70CBF-DF05-4D4B-B3FE-FC2A0FC2F91A}" type="datetime'''''7'''''''''''''''''''''''''',5''''''''''''''''''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,5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9" name="Metin Yer Tutucusu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13752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9B0CBF-F335-4A48-BE75-4B80A9A14CC6}" type="datetime'1''''''''0''''0,''''''''''''''''''''''''''''''''''''''0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" name="Metin Yer Tutucusu 6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651000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5EA643-0FC5-4863-B561-C32197754AD7}" type="datetime'20''''''''''''''0''''''''''''''''''7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7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3" name="Metin Yer Tutucusu 12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2606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6A0164-70C0-4B15-BE76-82F3B2019546}" type="datetime'1''''''''''0''''''0'''''''''''''''',''''''''''''0''''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2" name="Metin Yer Tutucusu 121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60972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E2B846-3C09-447B-9398-5A530573E7C5}" type="datetime'''''''1''''''''''''0''''''''''0'''''''''''',''0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1" name="Metin Yer Tutucusu 120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95567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D1E3F5-D542-4E12-89B6-9C8655F04C33}" type="datetime'''''''''''''''''''''''''''''''''10''0'',''''0''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9" name="Metin Yer Tutucusu 118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-225425" y="4194175"/>
            <a:ext cx="425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72CDE1-8910-464B-B26C-0084D0D55572}" type="datetime'''D''''''''iğ''''e''''''''''''''''''''''''''''''''''r'''''''">
              <a:rPr lang="en-US" sz="14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iğer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8" name="Metin Yer Tutucusu 137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2349500" y="434816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1C4953-76AE-4133-90B7-DB85353A423A}" type="datetime'2'',''''''''''''''''''''''''''''''''''''1''''''''''''''''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1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0" name="Metin Yer Tutucusu 129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44575" y="434181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14DAB9-18D4-412D-B05B-A163F4A44E3D}" type="datetime'''2'''''''''''''''''''''''''''''',''''''''''''''''''5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5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0" name="Metin Yer Tutucusu 119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0162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B08301-F891-4A76-A1F3-2C286DF7168D}" type="datetime'''''''''''''''''''1''''''0''''''''''''''0'''''''''''',''0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4" name="Metin Yer Tutucusu 133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698625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F4FEB3-FFC5-4EC5-AB42-3723463497F4}" type="datetime'''''''''''''''''2'''''''''''''',''''''''7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8" name="Metin Yer Tutucusu 117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-38100" y="3930650"/>
            <a:ext cx="238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9B209E-F84C-4D74-9890-30542497ED5A}" type="datetime'''''''''''''''''''''TL'''''''''''''''''''''''''">
              <a:rPr lang="en-US" sz="14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L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" name="Metin Yer Tutucusu 13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23018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37BBC-8288-48E9-9EB3-C41B15672680}" type="datetime'''''2''0''0''''''''''''''''''8''''''''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8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7" name="Metin Yer Tutucusu 116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-182563" y="3656013"/>
            <a:ext cx="3825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9A09CA-F7E4-4AD7-96F7-A559FE261266}" type="datetime'''''''''''''''''E''''''''''u''r''''''''''o'''''">
              <a:rPr lang="en-US" sz="14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uro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1" name="Metin Yer Tutucusu 4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8689975" y="4667251"/>
            <a:ext cx="654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9F8D90-B86B-40BA-AD72-CCEF4DFA4D57}" type="datetime'''''''''''''''''''2''017''''''''''-''Q''''''2''''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2017-Q2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0" name="Metin Yer Tutucusu 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226425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C6AE12-9006-4303-9253-D3E4588CCCD0}" type="datetime'''''''''''''''2'''''''''''''',''7'''''''''''''''''''''">
              <a:rPr lang="tr-TR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2" name="Metin Yer Tutucusu 2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791575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FD9859-D52A-4B6B-BA83-5320B38AE3EB}" type="datetime'''''1''''''''''0''''''''0'',''''''''''''''''0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8" name="Metin Yer Tutucusu 4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035925" y="4667250"/>
            <a:ext cx="654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648208-EB81-4A0A-BA99-F3C59C2A4769}" type="datetime'''20''''''1''''''''''''''''''''''''''''7''-Q''''1''''''''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2017-Q1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3" name="Metin Yer Tutucusu 2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8880475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0B24B8-F7E8-4A0D-BC51-0B8AD0E6240A}" type="datetime'''''2'''''''''''''''''''''''''',''''7'''">
              <a:rPr lang="tr-TR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51757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a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0&quot;&gt;&lt;m_msothmcolidx val=&quot;0&quot;/&gt;&lt;m_rgb r=&quot;56&quot; g=&quot;9C&quot; b=&quot;54&quot;/&gt;&lt;m_nBrightness val=&quot;0&quot;/&gt;&lt;/elem&gt;&lt;elem m_fUsage=&quot;9.00000000000000020000E-001&quot;&gt;&lt;m_msothmcolidx val=&quot;0&quot;/&gt;&lt;m_rgb r=&quot;FD&quot; g=&quot;C7&quot; b=&quot;0B&quot;/&gt;&lt;m_nBrightness val=&quot;0&quot;/&gt;&lt;/elem&gt;&lt;elem m_fUsage=&quot;8.10000000000000050000E-001&quot;&gt;&lt;m_msothmcolidx val=&quot;0&quot;/&gt;&lt;m_rgb r=&quot;2B&quot; g=&quot;F3&quot; b=&quot;F9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9x_4xFQ_SLRnKvhPxG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6V_CBTFWDd1NkZxFD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sVozuTICaFf.T7fEU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zJUWuq2Eeaz9F9QveQ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MIueXDU6pEPmLYKJ9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XtpktTSUOCt03zvcOQ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q.6i19Ck.aiXn7imTI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SD9EBz9kieh4BiqSra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3._FzQ0WMKv0RO5Cy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DnQIXTu0uZqzNx2wOm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Mmw94ok2amLYhv_w3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EZv6oFwUmWmIYIYrUU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4_OjKjn0auUn2JHJRHH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Gu5ydM_UGGmdBSJ8xBM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9asgdcPU.d1uPW82Ni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GqDz5jkEO2sBjKTcfP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fMMSeTV0usSCKCJnRD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_DLupu_Uegb1nI3qUn_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5e6XhMykq1LDClKlqG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OCNL1TnU..iBmAiyIz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hXCVLNBUCHYM4H35Oi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Mn8edw5E2B..XDS1cc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2bK1IXlEyDas7NUVdiX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xdpN6fN0avPidDTGp3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zpKvBIVUKFDzNi0lQO0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fB4YD4AkS47BhCPPnMp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pVNUJNEkOvEsT9ps5I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Kr6jpl0EqMijqJ.PEV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8QlvvKR9eO97ACtF5Ql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4TYmgBZkCJ7O1TWvBy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paahyMyU.YbHP0Kdefz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McKr9jNUGUjWpGPHRS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wm4Iklx0yhhEhTYnbX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u6ayI_JUu93jUGijeH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ceyIUcokO6zgr8gGw8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kRXF5y0.8qFpkYm1e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WHG2Mp0qaGLJyS1j3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0tMTqNgUK.1VxBejcee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u7Cm0ztUi0uHLiwHv9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6f0o.WkO9QVtvE.Kw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LtcygGLUG4wyBsfMgZp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YTVkeB2EKeUovbr9Lm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2EuL.ISXWlkK7TpokoX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CyjmQiSI6BPmfSzE.CC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N73C5KT3GII8c3S4mG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_useLlSzqnrh67YN_R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IbPEH0QMWPeagTtFg.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j25IhyE6W7FgfuAJz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uCYAX__UaKICcEDJqU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bI2c6ytEukL_.1hpKV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iZBhg00E6ZuUDTZqlSpg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64</TotalTime>
  <Words>48</Words>
  <Application>Microsoft Office PowerPoint</Application>
  <PresentationFormat>Ekran Gösterisi (4:3)</PresentationFormat>
  <Paragraphs>48</Paragraphs>
  <Slides>1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2</vt:i4>
      </vt:variant>
      <vt:variant>
        <vt:lpstr>Slayt Başlıkları</vt:lpstr>
      </vt:variant>
      <vt:variant>
        <vt:i4>1</vt:i4>
      </vt:variant>
    </vt:vector>
  </HeadingPairs>
  <TitlesOfParts>
    <vt:vector size="4" baseType="lpstr">
      <vt:lpstr>Ofis Teması</vt:lpstr>
      <vt:lpstr>think-cell Slide</vt:lpstr>
      <vt:lpstr>Microsoft Graph Chart</vt:lpstr>
      <vt:lpstr>PowerPoint Sunus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Asus11PC</dc:creator>
  <cp:lastModifiedBy>ASUS 14</cp:lastModifiedBy>
  <cp:revision>36</cp:revision>
  <dcterms:created xsi:type="dcterms:W3CDTF">2015-02-16T14:53:23Z</dcterms:created>
  <dcterms:modified xsi:type="dcterms:W3CDTF">2017-08-21T11:37:13Z</dcterms:modified>
</cp:coreProperties>
</file>